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9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6" r:id="rId37"/>
    <p:sldId id="4987" r:id="rId38"/>
    <p:sldId id="4988" r:id="rId39"/>
    <p:sldId id="4989" r:id="rId40"/>
    <p:sldId id="5007" r:id="rId41"/>
    <p:sldId id="4990" r:id="rId42"/>
    <p:sldId id="4985" r:id="rId43"/>
    <p:sldId id="4991" r:id="rId44"/>
    <p:sldId id="5012" r:id="rId45"/>
    <p:sldId id="5013" r:id="rId46"/>
    <p:sldId id="5011" r:id="rId47"/>
    <p:sldId id="4993" r:id="rId48"/>
    <p:sldId id="4995" r:id="rId49"/>
    <p:sldId id="4994" r:id="rId50"/>
    <p:sldId id="4996" r:id="rId51"/>
    <p:sldId id="4997" r:id="rId52"/>
    <p:sldId id="4998" r:id="rId53"/>
    <p:sldId id="5004" r:id="rId54"/>
    <p:sldId id="5005" r:id="rId55"/>
    <p:sldId id="5000" r:id="rId56"/>
    <p:sldId id="5001" r:id="rId57"/>
    <p:sldId id="5002" r:id="rId58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9672" autoAdjust="0"/>
    <p:restoredTop sz="96381" autoAdjust="0"/>
  </p:normalViewPr>
  <p:slideViewPr>
    <p:cSldViewPr snapToGrid="0">
      <p:cViewPr varScale="1">
        <p:scale>
          <a:sx n="121" d="100"/>
          <a:sy n="121" d="100"/>
        </p:scale>
        <p:origin x="1234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04.09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high-level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form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»</a:t>
            </a:r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also </a:t>
            </a:r>
            <a:r>
              <a:rPr lang="de-CH" dirty="0" err="1"/>
              <a:t>contain</a:t>
            </a:r>
            <a:r>
              <a:rPr lang="de-CH" dirty="0"/>
              <a:t> </a:t>
            </a:r>
            <a:r>
              <a:rPr lang="de-CH" dirty="0" err="1"/>
              <a:t>additioinal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medie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.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done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process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yielding</a:t>
            </a:r>
            <a:r>
              <a:rPr lang="de-CH" dirty="0"/>
              <a:t> an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.</a:t>
            </a:r>
          </a:p>
          <a:p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in </a:t>
            </a:r>
            <a:r>
              <a:rPr lang="de-CH" dirty="0" err="1"/>
              <a:t>detail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also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word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al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prcise</a:t>
            </a:r>
            <a:r>
              <a:rPr lang="de-CH" dirty="0"/>
              <a:t>: a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«</a:t>
            </a:r>
            <a:r>
              <a:rPr lang="de-CH" dirty="0" err="1"/>
              <a:t>swimming</a:t>
            </a:r>
            <a:r>
              <a:rPr lang="de-CH" dirty="0"/>
              <a:t>»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2 </a:t>
            </a:r>
            <a:r>
              <a:rPr lang="de-CH" dirty="0" err="1"/>
              <a:t>tokens</a:t>
            </a:r>
            <a:r>
              <a:rPr lang="de-CH" dirty="0"/>
              <a:t> «</a:t>
            </a:r>
            <a:r>
              <a:rPr lang="de-CH" dirty="0" err="1"/>
              <a:t>swim</a:t>
            </a:r>
            <a:r>
              <a:rPr lang="de-CH" dirty="0"/>
              <a:t>» and «</a:t>
            </a:r>
            <a:r>
              <a:rPr lang="de-CH" dirty="0" err="1"/>
              <a:t>ming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and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back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– </a:t>
            </a:r>
            <a:r>
              <a:rPr lang="de-CH" dirty="0" err="1"/>
              <a:t>using</a:t>
            </a:r>
            <a:r>
              <a:rPr lang="de-CH" dirty="0"/>
              <a:t> ist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–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cond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ist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/>
              <a:t>And so on.</a:t>
            </a:r>
          </a:p>
          <a:p>
            <a:endParaRPr lang="de-CH" dirty="0"/>
          </a:p>
          <a:p>
            <a:r>
              <a:rPr lang="de-CH" dirty="0" err="1"/>
              <a:t>Gpt</a:t>
            </a:r>
            <a:r>
              <a:rPr lang="de-CH" dirty="0"/>
              <a:t> 3 and 4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bout</a:t>
            </a:r>
            <a:r>
              <a:rPr lang="de-CH" dirty="0"/>
              <a:t> 50000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an </a:t>
            </a:r>
            <a:r>
              <a:rPr lang="de-CH" dirty="0" err="1"/>
              <a:t>arbitrary</a:t>
            </a:r>
            <a:r>
              <a:rPr lang="de-CH" dirty="0"/>
              <a:t> string.</a:t>
            </a:r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finite </a:t>
            </a:r>
            <a:r>
              <a:rPr lang="de-CH" dirty="0" err="1"/>
              <a:t>number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assig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and 50000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</a:p>
          <a:p>
            <a:r>
              <a:rPr lang="de-CH" dirty="0"/>
              <a:t>And </a:t>
            </a:r>
            <a:r>
              <a:rPr lang="de-CH" dirty="0" err="1"/>
              <a:t>thats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was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lis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beginning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an </a:t>
            </a:r>
            <a:r>
              <a:rPr lang="de-CH" dirty="0" err="1"/>
              <a:t>id</a:t>
            </a:r>
            <a:r>
              <a:rPr lang="de-CH" dirty="0"/>
              <a:t> –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– 50000 –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n </a:t>
            </a:r>
            <a:r>
              <a:rPr lang="de-CH" dirty="0" err="1"/>
              <a:t>index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 err="1"/>
              <a:t>Thereby</a:t>
            </a:r>
            <a:r>
              <a:rPr lang="de-CH" dirty="0"/>
              <a:t> </a:t>
            </a:r>
            <a:r>
              <a:rPr lang="de-CH" dirty="0" err="1"/>
              <a:t>assign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.</a:t>
            </a:r>
          </a:p>
          <a:p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s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</a:t>
            </a:r>
            <a:r>
              <a:rPr lang="de-CH" dirty="0" err="1"/>
              <a:t>size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50000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gets</a:t>
            </a:r>
            <a:r>
              <a:rPr lang="de-CH" dirty="0"/>
              <a:t> a score </a:t>
            </a:r>
            <a:r>
              <a:rPr lang="de-CH" dirty="0" err="1"/>
              <a:t>of</a:t>
            </a:r>
            <a:r>
              <a:rPr lang="de-CH" dirty="0"/>
              <a:t> 98 a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4 -23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elec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prefer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high score.</a:t>
            </a:r>
          </a:p>
          <a:p>
            <a:r>
              <a:rPr lang="de-CH" dirty="0"/>
              <a:t>Thus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win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.</a:t>
            </a:r>
          </a:p>
          <a:p>
            <a:endParaRPr lang="de-CH" dirty="0"/>
          </a:p>
          <a:p>
            <a:r>
              <a:rPr lang="de-CH" dirty="0"/>
              <a:t>More </a:t>
            </a:r>
            <a:r>
              <a:rPr lang="de-CH" dirty="0" err="1"/>
              <a:t>precisely</a:t>
            </a:r>
            <a:r>
              <a:rPr lang="de-CH" dirty="0"/>
              <a:t>: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ver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a so-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softmac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sample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common</a:t>
            </a:r>
            <a:r>
              <a:rPr lang="de-CH" dirty="0"/>
              <a:t> </a:t>
            </a:r>
            <a:r>
              <a:rPr lang="de-CH" dirty="0" err="1"/>
              <a:t>hyperparamet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modifi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</a:t>
            </a:r>
            <a:r>
              <a:rPr lang="de-CH" dirty="0" err="1"/>
              <a:t>temper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a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 Thus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turn</a:t>
            </a:r>
            <a:r>
              <a:rPr lang="de-CH" dirty="0"/>
              <a:t> an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r</a:t>
            </a:r>
            <a:endParaRPr lang="de-CH" dirty="0"/>
          </a:p>
          <a:p>
            <a:r>
              <a:rPr lang="de-CH" dirty="0"/>
              <a:t>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token</a:t>
            </a:r>
            <a:r>
              <a:rPr lang="de-CH" dirty="0"/>
              <a:t>. 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r>
              <a:rPr lang="de-CH" dirty="0" err="1"/>
              <a:t>While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lower</a:t>
            </a:r>
            <a:r>
              <a:rPr lang="de-CH" dirty="0"/>
              <a:t> score. Making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deterministic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tinue</a:t>
            </a:r>
            <a:r>
              <a:rPr lang="de-CH" dirty="0"/>
              <a:t> </a:t>
            </a:r>
            <a:r>
              <a:rPr lang="de-CH" dirty="0" err="1"/>
              <a:t>unti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ventually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an </a:t>
            </a:r>
            <a:r>
              <a:rPr lang="de-CH" dirty="0" err="1"/>
              <a:t>eot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n end-</a:t>
            </a:r>
            <a:r>
              <a:rPr lang="de-CH" dirty="0" err="1"/>
              <a:t>of</a:t>
            </a:r>
            <a:r>
              <a:rPr lang="de-CH" dirty="0"/>
              <a:t>-text </a:t>
            </a:r>
            <a:r>
              <a:rPr lang="de-CH" dirty="0" err="1"/>
              <a:t>token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tells</a:t>
            </a:r>
            <a:r>
              <a:rPr lang="de-CH" dirty="0"/>
              <a:t> </a:t>
            </a:r>
            <a:r>
              <a:rPr lang="de-CH" dirty="0" err="1"/>
              <a:t>u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top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we</a:t>
            </a:r>
            <a:r>
              <a:rPr lang="de-CH" dirty="0"/>
              <a:t> end </a:t>
            </a:r>
            <a:r>
              <a:rPr lang="de-CH" dirty="0" err="1"/>
              <a:t>up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final </a:t>
            </a:r>
            <a:r>
              <a:rPr lang="de-CH" dirty="0" err="1"/>
              <a:t>answer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tin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rainfall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ten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large, </a:t>
            </a:r>
            <a:r>
              <a:rPr lang="de-CH" dirty="0" err="1"/>
              <a:t>typically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tr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poses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particular</a:t>
            </a:r>
            <a:r>
              <a:rPr lang="de-CH" dirty="0"/>
              <a:t> </a:t>
            </a:r>
            <a:r>
              <a:rPr lang="de-CH" dirty="0" err="1"/>
              <a:t>challenges</a:t>
            </a:r>
            <a:r>
              <a:rPr lang="de-CH" dirty="0"/>
              <a:t> in </a:t>
            </a:r>
            <a:r>
              <a:rPr lang="de-CH" dirty="0" err="1"/>
              <a:t>bringing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n you a send the same model the same question twice, you may well get 2 different answers.</a:t>
            </a:r>
          </a:p>
          <a:p>
            <a:r>
              <a:rPr lang="en-US" dirty="0"/>
              <a:t>And both maybe valid.</a:t>
            </a:r>
          </a:p>
          <a:p>
            <a:r>
              <a:rPr lang="en-US" dirty="0"/>
              <a:t>To decide if a generated answer is okay, we can’t compare to a reference anymore. </a:t>
            </a:r>
          </a:p>
          <a:p>
            <a:r>
              <a:rPr lang="en-US" dirty="0"/>
              <a:t>This makes Unit testing, detecting regressions or debugging may get quite painful.</a:t>
            </a:r>
          </a:p>
          <a:p>
            <a:endParaRPr lang="en-US" dirty="0"/>
          </a:p>
          <a:p>
            <a:r>
              <a:rPr lang="en-US" dirty="0"/>
              <a:t>Comparing the impact of an model change - for example due to quantization – also becomes a real headache.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 a nutshell: equality testing is not an option anymore.</a:t>
            </a:r>
          </a:p>
          <a:p>
            <a:endParaRPr lang="en-US" dirty="0"/>
          </a:p>
          <a:p>
            <a:r>
              <a:rPr lang="en-US" dirty="0"/>
              <a:t>A good but expensive way is to ask humans to do the evaluation.</a:t>
            </a:r>
          </a:p>
          <a:p>
            <a:r>
              <a:rPr lang="en-US" dirty="0"/>
              <a:t>This is great to build up the gut feeling.</a:t>
            </a:r>
          </a:p>
          <a:p>
            <a:r>
              <a:rPr lang="en-US" dirty="0"/>
              <a:t>But who wants to become a part of a build-pipeline ?</a:t>
            </a:r>
          </a:p>
          <a:p>
            <a:endParaRPr lang="en-US" dirty="0"/>
          </a:p>
          <a:p>
            <a:r>
              <a:rPr lang="en-US" dirty="0"/>
              <a:t>Even when you have a few interns at hand, you need a set of criteria.</a:t>
            </a:r>
          </a:p>
          <a:p>
            <a:r>
              <a:rPr lang="en-US" dirty="0"/>
              <a:t>For example an answer may be correct but written in an unprofessional style.</a:t>
            </a:r>
          </a:p>
          <a:p>
            <a:endParaRPr lang="en-US" dirty="0"/>
          </a:p>
          <a:p>
            <a:r>
              <a:rPr lang="en-US" dirty="0"/>
              <a:t>Note that we don’t always need a ground-truth – meaning a “true reference answer”.</a:t>
            </a:r>
          </a:p>
          <a:p>
            <a:r>
              <a:rPr lang="en-US" dirty="0"/>
              <a:t>For example we often can detect contradictions without knowing the “real truth”.</a:t>
            </a:r>
          </a:p>
          <a:p>
            <a:endParaRPr lang="en-US" dirty="0"/>
          </a:p>
          <a:p>
            <a:r>
              <a:rPr lang="en-US" dirty="0"/>
              <a:t>People tried for quite a while to use statistics. But this did not work very well.</a:t>
            </a:r>
          </a:p>
          <a:p>
            <a:endParaRPr lang="en-US" dirty="0"/>
          </a:p>
          <a:p>
            <a:r>
              <a:rPr lang="en-US" dirty="0"/>
              <a:t>They key idea is to ask a model to evaluate each criteria separately.</a:t>
            </a:r>
          </a:p>
          <a:p>
            <a:r>
              <a:rPr lang="en-US" dirty="0"/>
              <a:t>Thus turning the </a:t>
            </a:r>
            <a:r>
              <a:rPr lang="en-US" dirty="0" err="1"/>
              <a:t>llm</a:t>
            </a:r>
            <a:r>
              <a:rPr lang="en-US" dirty="0"/>
              <a:t> into a judg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and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st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 </a:t>
            </a:r>
            <a:r>
              <a:rPr lang="de-CH" dirty="0" err="1"/>
              <a:t>handcrafted</a:t>
            </a:r>
            <a:r>
              <a:rPr lang="de-CH" dirty="0"/>
              <a:t> prompt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sk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rading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prompt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&amp;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also </a:t>
            </a:r>
            <a:r>
              <a:rPr lang="de-CH" dirty="0" err="1"/>
              <a:t>included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send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In </a:t>
            </a:r>
            <a:r>
              <a:rPr lang="de-CH" dirty="0" err="1"/>
              <a:t>the</a:t>
            </a:r>
            <a:r>
              <a:rPr lang="de-CH" dirty="0"/>
              <a:t> prompt </a:t>
            </a:r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ask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 </a:t>
            </a:r>
            <a:r>
              <a:rPr lang="de-CH" dirty="0" err="1"/>
              <a:t>json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 score </a:t>
            </a:r>
            <a:r>
              <a:rPr lang="de-CH" dirty="0" err="1"/>
              <a:t>between</a:t>
            </a:r>
            <a:r>
              <a:rPr lang="de-CH" dirty="0"/>
              <a:t> 0 and 10 and a </a:t>
            </a:r>
            <a:r>
              <a:rPr lang="de-CH" dirty="0" err="1"/>
              <a:t>reason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4780991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286845" y="144713"/>
            <a:ext cx="905154" cy="90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icrosoft/Phi-3.5-mini-instruct" TargetMode="External"/><Relationship Id="rId7" Type="http://schemas.openxmlformats.org/officeDocument/2006/relationships/hyperlink" Target="https://huggingface.co/docs/transformers/main/en/quantization/bitsandbytes?bnb=8-bit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docs/transformers/main/en/quantization/bitsandbytes?bnb=4-bit" TargetMode="External"/><Relationship Id="rId5" Type="http://schemas.openxmlformats.org/officeDocument/2006/relationships/hyperlink" Target="https://huggingface.co/meta-llama/Meta-Llama-3.1-8B-Instruct" TargetMode="External"/><Relationship Id="rId4" Type="http://schemas.openxmlformats.org/officeDocument/2006/relationships/hyperlink" Target="https://huggingface.co/google/gemma-2-2b-it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?hl=en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9.png"/><Relationship Id="rId4" Type="http://schemas.openxmlformats.org/officeDocument/2006/relationships/image" Target="../media/image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hyperlink" Target="https://arxiv.org/abs/2303.16634" TargetMode="Externa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9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9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lab.research.google.com/github/DJCordhose/practical-llm/blob/main/Eval4pptx.ipynb" TargetMode="Externa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87D8BCA-9B96-033F-44CF-3DAFD0F482CE}"/>
              </a:ext>
            </a:extLst>
          </p:cNvPr>
          <p:cNvGrpSpPr/>
          <p:nvPr/>
        </p:nvGrpSpPr>
        <p:grpSpPr>
          <a:xfrm>
            <a:off x="3665458" y="1788257"/>
            <a:ext cx="1016625" cy="695895"/>
            <a:chOff x="3665458" y="1788257"/>
            <a:chExt cx="1016625" cy="695895"/>
          </a:xfrm>
        </p:grpSpPr>
        <p:sp>
          <p:nvSpPr>
            <p:cNvPr id="15" name="Arrow: Down 14">
              <a:extLst>
                <a:ext uri="{FF2B5EF4-FFF2-40B4-BE49-F238E27FC236}">
                  <a16:creationId xmlns:a16="http://schemas.microsoft.com/office/drawing/2014/main" id="{C774D972-4550-0123-44AB-7588F0423FE5}"/>
                </a:ext>
              </a:extLst>
            </p:cNvPr>
            <p:cNvSpPr/>
            <p:nvPr/>
          </p:nvSpPr>
          <p:spPr>
            <a:xfrm rot="16200000">
              <a:off x="3987683" y="1589545"/>
              <a:ext cx="408647" cy="806071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E3B97BD-3D6A-DE4C-FFB5-CE569756A017}"/>
                </a:ext>
              </a:extLst>
            </p:cNvPr>
            <p:cNvSpPr txBox="1"/>
            <p:nvPr/>
          </p:nvSpPr>
          <p:spPr>
            <a:xfrm>
              <a:off x="3665458" y="2227607"/>
              <a:ext cx="1016625" cy="2565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b="1" dirty="0">
                  <a:solidFill>
                    <a:schemeClr val="bg2"/>
                  </a:solidFill>
                </a:rPr>
                <a:t>[312, 2,17,…]</a:t>
              </a:r>
              <a:endParaRPr lang="en-CH" sz="1067" b="1" dirty="0">
                <a:solidFill>
                  <a:schemeClr val="bg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D0391B-949C-4CAA-E9DF-A8128F30281E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01CC458-6C74-B5DE-FE9C-9A887CB2537E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0D37E134-2800-1F22-AA8B-F38DAA100285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685586F-492A-EAE5-140F-08388A903E3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-24</a:t>
              </a:r>
            </a:p>
            <a:p>
              <a:pPr algn="ctr"/>
              <a:r>
                <a:rPr lang="de-CH" sz="800" b="1" dirty="0"/>
                <a:t>39</a:t>
              </a:r>
            </a:p>
            <a:p>
              <a:pPr algn="ctr"/>
              <a:r>
                <a:rPr lang="de-CH" sz="800" b="1" dirty="0"/>
                <a:t>-398</a:t>
              </a:r>
            </a:p>
            <a:p>
              <a:pPr algn="ctr"/>
              <a:r>
                <a:rPr lang="de-CH" sz="800" b="1" dirty="0"/>
                <a:t>91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507FA291-6F4A-1359-8FB4-0EC47FECC4E7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  <p:bldP spid="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7C8703-5709-2301-3B62-5B25D03BB920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684CA0B-AC00-B632-694D-D20FB4EF8DB9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8" name="Double Bracket 7">
              <a:extLst>
                <a:ext uri="{FF2B5EF4-FFF2-40B4-BE49-F238E27FC236}">
                  <a16:creationId xmlns:a16="http://schemas.microsoft.com/office/drawing/2014/main" id="{3ECE65BD-8ED1-5518-CFDC-47394706F967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ECAE7F0-1D03-7471-8247-60E571D66DFA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3.1</a:t>
              </a:r>
            </a:p>
            <a:p>
              <a:pPr algn="ctr"/>
              <a:r>
                <a:rPr lang="de-CH" sz="800" b="1" dirty="0"/>
                <a:t>14.1</a:t>
              </a:r>
            </a:p>
            <a:p>
              <a:pPr algn="ctr"/>
              <a:r>
                <a:rPr lang="de-CH" sz="800" b="1" dirty="0"/>
                <a:t>45.9</a:t>
              </a:r>
            </a:p>
            <a:p>
              <a:pPr algn="ctr"/>
              <a:r>
                <a:rPr lang="de-CH" sz="800" b="1" dirty="0"/>
                <a:t>-7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6888914B-114C-F0C8-AE5B-EFF8F51DCA06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  <p:bldP spid="1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71E2F0-3E5E-F2B3-CD79-8A354AFC75F1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E5651EA-B2D4-735E-9167-DD07B7344651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161DC924-60D0-F49F-DD8A-72626EEF7E5A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B69F391-B86A-50DC-95F9-767E342D9BB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2.78</a:t>
              </a:r>
            </a:p>
            <a:p>
              <a:pPr algn="ctr"/>
              <a:r>
                <a:rPr lang="de-CH" sz="800" b="1" dirty="0"/>
                <a:t>0.02</a:t>
              </a:r>
            </a:p>
            <a:p>
              <a:pPr algn="ctr"/>
              <a:r>
                <a:rPr lang="de-CH" sz="800" b="1" dirty="0"/>
                <a:t>98.7</a:t>
              </a:r>
            </a:p>
            <a:p>
              <a:pPr algn="ctr"/>
              <a:r>
                <a:rPr lang="de-CH" sz="800" b="1" dirty="0"/>
                <a:t>-23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D3E5C960-20F7-2AA1-10E9-9B396B27BEEB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</a:p>
          <a:p>
            <a:r>
              <a:rPr lang="en" dirty="0"/>
              <a:t>Scaling to more than one parallel request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Inference on GPU only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	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  <a:sym typeface="Oswald"/>
              </a:rPr>
              <a:t>L4</a:t>
            </a:r>
            <a:r>
              <a:rPr lang="en" sz="2400" dirty="0">
                <a:solidFill>
                  <a:schemeClr val="tx2"/>
                </a:solidFill>
                <a:highlight>
                  <a:srgbClr val="808080"/>
                </a:highlight>
                <a:sym typeface="Oswald"/>
              </a:rPr>
              <a:t> </a:t>
            </a:r>
            <a:r>
              <a:rPr lang="en" dirty="0">
                <a:solidFill>
                  <a:srgbClr val="212121"/>
                </a:solidFill>
              </a:rPr>
              <a:t>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H100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	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18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</a:t>
            </a:r>
            <a:r>
              <a:rPr lang="en-US" sz="18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 </a:t>
            </a:r>
            <a:r>
              <a:rPr lang="en-US" sz="18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  <a:ea typeface="+mn-ea"/>
                <a:cs typeface="+mn-cs"/>
              </a:rPr>
              <a:t>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 on GPU memory</a:t>
            </a:r>
            <a:endParaRPr dirty="0"/>
          </a:p>
          <a:p>
            <a:r>
              <a:rPr lang="en" dirty="0"/>
              <a:t>Caching for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</a:p>
          <a:p>
            <a:pPr lvl="1"/>
            <a:r>
              <a:rPr lang="de-DE" dirty="0"/>
              <a:t>b</a:t>
            </a:r>
            <a:r>
              <a:rPr lang="en" dirty="0"/>
              <a:t>atch size</a:t>
            </a:r>
            <a:endParaRPr dirty="0"/>
          </a:p>
          <a:p>
            <a:r>
              <a:rPr lang="en" dirty="0"/>
              <a:t>What about reducing resolution to 8 Bit or 4 Bit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</a:t>
            </a:r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85000" lnSpcReduction="20000"/>
          </a:bodyPr>
          <a:lstStyle/>
          <a:p>
            <a:pPr marL="0" indent="0">
              <a:buNone/>
            </a:pPr>
            <a:r>
              <a:rPr lang="nn-NO" sz="2800" dirty="0"/>
              <a:t>Key Driver multi language</a:t>
            </a:r>
          </a:p>
          <a:p>
            <a:pPr marL="0" indent="0">
              <a:buNone/>
            </a:pPr>
            <a:endParaRPr lang="en" sz="2600" b="1" dirty="0"/>
          </a:p>
          <a:p>
            <a:pPr marL="0" indent="0">
              <a:buNone/>
            </a:pPr>
            <a:r>
              <a:rPr lang="en" sz="2600" b="1" dirty="0"/>
              <a:t>Smaller Models</a:t>
            </a:r>
            <a:endParaRPr lang="nn-NO" sz="1800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800" dirty="0"/>
              <a:t>Microsoft Phi 3.5 3.8B: </a:t>
            </a:r>
            <a:r>
              <a:rPr lang="nn-NO" sz="1800" dirty="0">
                <a:hlinkClick r:id="rId3"/>
              </a:rPr>
              <a:t>https://huggingface.co/microsoft/Phi-3.5-mini-instruct</a:t>
            </a:r>
            <a:r>
              <a:rPr lang="nn-NO" sz="1800" dirty="0"/>
              <a:t>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800" dirty="0"/>
              <a:t>Google Gemma 2 </a:t>
            </a:r>
            <a:r>
              <a:rPr lang="pl-PL" sz="1800" dirty="0"/>
              <a:t>2.6B: </a:t>
            </a:r>
            <a:r>
              <a:rPr lang="pl-PL" sz="1800" dirty="0">
                <a:hlinkClick r:id="rId4"/>
              </a:rPr>
              <a:t>https://huggingface.co/google/gemma-2-2b-it</a:t>
            </a:r>
            <a:r>
              <a:rPr lang="de-DE" sz="1800" dirty="0"/>
              <a:t>  </a:t>
            </a:r>
            <a:endParaRPr sz="18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26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800" dirty="0">
                <a:hlinkClick r:id="rId5"/>
              </a:rPr>
              <a:t>https://huggingface.co/meta-llama/Meta-Llama-3.1-8B-Instruct</a:t>
            </a:r>
            <a:r>
              <a:rPr lang="de-DE" sz="1800" dirty="0"/>
              <a:t>  </a:t>
            </a:r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Quantized with </a:t>
            </a:r>
            <a:r>
              <a:rPr lang="en-US" sz="1800" dirty="0" err="1"/>
              <a:t>bitsandbytes</a:t>
            </a:r>
            <a:endParaRPr lang="en-US" sz="1800" dirty="0"/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to 4-Bit: </a:t>
            </a:r>
            <a:r>
              <a:rPr lang="en-US" sz="1800" dirty="0">
                <a:hlinkClick r:id="rId6"/>
              </a:rPr>
              <a:t>https://huggingface.co/docs/transformers/main/en/quantization/bitsandbytes?bnb=4-bit</a:t>
            </a:r>
            <a:r>
              <a:rPr lang="en-US" sz="1800" dirty="0"/>
              <a:t> </a:t>
            </a:r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and 8-Bit: </a:t>
            </a:r>
            <a:r>
              <a:rPr lang="en-US" sz="1800" dirty="0">
                <a:hlinkClick r:id="rId7"/>
              </a:rPr>
              <a:t>https://huggingface.co/docs/transformers/main/en/quantization/bitsandbytes?bnb=8-bit</a:t>
            </a:r>
            <a:r>
              <a:rPr lang="en-US" sz="1800" dirty="0"/>
              <a:t> 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65408" y="450910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>
                <a:hlinkClick r:id="rId3"/>
              </a:rPr>
              <a:t>https://colab.research.google.com/github/DJCordhose/practical-llm/blob/main/Assessment.ipynb?hl=en</a:t>
            </a:r>
            <a:r>
              <a:rPr lang="de-DE" sz="2400" dirty="0"/>
              <a:t> 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D148AD12-3215-252D-8142-7D9D527562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738935" y="2278299"/>
            <a:ext cx="1633150" cy="1633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27786" y="2211063"/>
            <a:ext cx="1942325" cy="194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204460" y="1436433"/>
            <a:ext cx="1184827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models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dedicated inference server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67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The future is already here, it is just not evenly distributed</a:t>
            </a:r>
          </a:p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- William </a:t>
            </a:r>
            <a:r>
              <a:rPr lang="en-US" sz="2400" dirty="0" err="1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Gibbson</a:t>
            </a:r>
            <a:endParaRPr lang="en-US" sz="2400" dirty="0">
              <a:solidFill>
                <a:schemeClr val="accent5"/>
              </a:solidFill>
              <a:highlight>
                <a:srgbClr val="C0C0C0"/>
              </a:highlight>
              <a:latin typeface="Source Sans Pro" panose="020B0503030403020204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 dirty="0"/>
              <a:t>Running LLMs on prem</a:t>
            </a:r>
            <a:endParaRPr sz="6560" dirty="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 dirty="0"/>
              <a:t>A Practical Guide</a:t>
            </a:r>
            <a:endParaRPr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04C80A8-9657-4799-5452-B2B933DBB935}"/>
              </a:ext>
            </a:extLst>
          </p:cNvPr>
          <p:cNvSpPr txBox="1"/>
          <p:nvPr/>
        </p:nvSpPr>
        <p:spPr>
          <a:xfrm>
            <a:off x="459000" y="5617046"/>
            <a:ext cx="6227378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" sz="1800" dirty="0"/>
              <a:t>Olliver Zeigermann</a:t>
            </a:r>
          </a:p>
          <a:p>
            <a:r>
              <a:rPr lang="en" dirty="0"/>
              <a:t>Christian Hidber</a:t>
            </a:r>
          </a:p>
          <a:p>
            <a:endParaRPr lang="en" dirty="0"/>
          </a:p>
          <a:p>
            <a:r>
              <a:rPr lang="en" sz="1400" dirty="0"/>
              <a:t>ODSC Europe, London, 9/5/24</a:t>
            </a:r>
            <a:endParaRPr lang="en-CH" sz="14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Mixture of experts</a:t>
            </a:r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</a:p>
          <a:p>
            <a:pPr indent="-445758">
              <a:buSzPct val="100000"/>
            </a:pPr>
            <a:r>
              <a:rPr lang="de-DE" dirty="0"/>
              <a:t>t</a:t>
            </a:r>
            <a:r>
              <a:rPr lang="en" dirty="0"/>
              <a:t>hus also bringing down KV-cache needs</a:t>
            </a:r>
          </a:p>
          <a:p>
            <a:pPr indent="-445758">
              <a:buSzPct val="100000"/>
            </a:pPr>
            <a:endParaRPr lang="en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/>
              <a:t>Reference</a:t>
            </a:r>
            <a:endParaRPr sz="1800"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sz="1800" dirty="0"/>
              <a:t> 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sz="1800" dirty="0"/>
              <a:t>  </a:t>
            </a:r>
            <a:endParaRPr sz="1800" dirty="0"/>
          </a:p>
          <a:p>
            <a:pPr indent="-445758">
              <a:buSzPct val="100000"/>
            </a:pPr>
            <a:r>
              <a:rPr lang="en" sz="1800" dirty="0"/>
              <a:t>Sparse Mixture of Experts (SMoE) Mixtral 8x7B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 dirty="0"/>
              <a:t>Even better context length: 128k</a:t>
            </a:r>
            <a:endParaRPr dirty="0"/>
          </a:p>
          <a:p>
            <a:pPr indent="-445758">
              <a:buSzPct val="100000"/>
            </a:pPr>
            <a:r>
              <a:rPr lang="en" dirty="0"/>
              <a:t>Supported languages: English, German, French, Italian, Portuguese, Hindi, Spanish, and Thai.</a:t>
            </a:r>
            <a:endParaRPr dirty="0"/>
          </a:p>
          <a:p>
            <a:pPr indent="-445758">
              <a:buSzPct val="100000"/>
            </a:pPr>
            <a:r>
              <a:rPr lang="en" dirty="0"/>
              <a:t>Significantly better scores in European languages than 8B version</a:t>
            </a:r>
            <a:endParaRPr dirty="0"/>
          </a:p>
          <a:p>
            <a:pPr indent="-445758">
              <a:buSzPct val="80629"/>
            </a:pPr>
            <a:r>
              <a:rPr lang="en" dirty="0">
                <a:latin typeface="Source Sans Pro" panose="020B0503030403020204" pitchFamily="34" charset="0"/>
                <a:ea typeface="Source Sans Pro" panose="020B0503030403020204" pitchFamily="34" charset="0"/>
              </a:rPr>
              <a:t>Compared to </a:t>
            </a:r>
            <a:r>
              <a:rPr lang="en" sz="2443" dirty="0">
                <a:latin typeface="Source Sans Pro" panose="020B0503030403020204" pitchFamily="34" charset="0"/>
                <a:ea typeface="Source Sans Pro" panose="020B0503030403020204" pitchFamily="34" charset="0"/>
              </a:rPr>
              <a:t>Mixtral 8x7B</a:t>
            </a:r>
            <a:endParaRPr sz="2976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lvl="1" indent="-414432">
              <a:buSzPct val="77777"/>
            </a:pPr>
            <a:r>
              <a:rPr lang="en" sz="2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significantly better scores all over</a:t>
            </a:r>
            <a:endParaRPr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lvl="1" indent="-414432">
              <a:buSzPct val="77777"/>
            </a:pPr>
            <a:r>
              <a:rPr lang="en" sz="2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Needs more memory and compute</a:t>
            </a:r>
            <a:endParaRPr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endParaRPr lang="en" sz="1800" b="1" dirty="0"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sz="1800" b="1" dirty="0"/>
              <a:t>Reference</a:t>
            </a:r>
            <a:endParaRPr sz="1800"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 sz="1800" dirty="0"/>
              <a:t> 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1007" y="1637550"/>
            <a:ext cx="11360800" cy="4446400"/>
          </a:xfrm>
        </p:spPr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e.g.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sz="1800" dirty="0" err="1">
                <a:latin typeface="Source Sans Pro" panose="020B0503030403020204"/>
              </a:rPr>
              <a:t>Batching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f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requests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Automatic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usage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f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existing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hardware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Optimization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Distribute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model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ver</a:t>
            </a:r>
            <a:r>
              <a:rPr lang="de-CH" sz="1800" dirty="0">
                <a:latin typeface="Source Sans Pro" panose="020B0503030403020204"/>
              </a:rPr>
              <a:t> multiple GPUs (Tensor </a:t>
            </a:r>
            <a:r>
              <a:rPr lang="de-CH" sz="1800" dirty="0" err="1">
                <a:latin typeface="Source Sans Pro" panose="020B0503030403020204"/>
              </a:rPr>
              <a:t>parallelism</a:t>
            </a:r>
            <a:r>
              <a:rPr lang="de-CH" sz="1800" dirty="0">
                <a:latin typeface="Source Sans Pro" panose="020B0503030403020204"/>
              </a:rPr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Native support for 4 Bit resolution</a:t>
            </a:r>
            <a:r>
              <a:rPr lang="en" dirty="0">
                <a:solidFill>
                  <a:srgbClr val="212121"/>
                </a:solidFill>
                <a:highlight>
                  <a:srgbClr val="808080"/>
                </a:highlight>
              </a:rPr>
              <a:t> </a:t>
            </a:r>
            <a:endParaRPr dirty="0">
              <a:solidFill>
                <a:srgbClr val="212121"/>
              </a:solidFill>
              <a:highlight>
                <a:srgbClr val="808080"/>
              </a:highlight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>
              <a:solidFill>
                <a:srgbClr val="212121"/>
              </a:solidFill>
            </a:endParaRPr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6778148" y="1216193"/>
            <a:ext cx="519966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Ques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What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is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Pluvia ?</a:t>
            </a:r>
          </a:p>
          <a:p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  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….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6778149" y="3009950"/>
            <a:ext cx="4607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6DC0C47D-3706-950F-F877-C2105390C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CA27D7-0FDA-B77E-C696-CD5288B4A6EC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119BF38-AB6E-5617-DE2F-6BEDC7AAC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" grpId="0"/>
      <p:bldP spid="10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105337" cy="32316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6A66A38-AB7F-4CAF-FBF4-F1E6C23C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378848" y="3719211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105337" cy="43396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5E068F4-958D-B5AF-5CB1-E43CF65EC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019AF19-4113-BD46-DE25-7914C42B7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908505" y="2700343"/>
            <a:ext cx="1083596" cy="99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FAABB27-5BFD-C03C-7E0C-CE3BD3A111B2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0064687-F7B2-7AB2-933A-3AE2CE08FDAB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0682DF-9F80-877F-36DE-0CEDA6C674A3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E6A3DA-A014-F860-2DB4-E2B89958E78E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p:transition spd="slow">
    <p:wipe dir="d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417426"/>
            <a:ext cx="11360800" cy="1231410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598" dirty="0">
                <a:latin typeface="Arial"/>
              </a:rPr>
              <a:t>“Why do you dislike writing texts ?”</a:t>
            </a:r>
            <a:endParaRPr lang="de-CH" sz="1598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2743200"/>
            <a:ext cx="11360800" cy="404829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 err="1"/>
              <a:t>Context</a:t>
            </a:r>
            <a:endParaRPr lang="de-CH" dirty="0"/>
          </a:p>
          <a:p>
            <a:pPr marL="795847" lvl="1" indent="0">
              <a:buFont typeface="[Normal Text]"/>
              <a:buNone/>
            </a:pPr>
            <a:r>
              <a:rPr lang="en-US" dirty="0"/>
              <a:t>You are an expert on </a:t>
            </a:r>
            <a:r>
              <a:rPr lang="en-US" dirty="0" err="1"/>
              <a:t>english</a:t>
            </a:r>
            <a:r>
              <a:rPr lang="en-US" dirty="0"/>
              <a:t> language. Grade a students text with scores between 0 and 10.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Answer with a Json containing a score and a reason.</a:t>
            </a:r>
          </a:p>
          <a:p>
            <a:pPr marL="795847" lvl="1" indent="0">
              <a:buFont typeface="[Normal Text]"/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Student Text: </a:t>
            </a:r>
            <a:r>
              <a:rPr lang="en-US" dirty="0" err="1"/>
              <a:t>Witing</a:t>
            </a:r>
            <a:r>
              <a:rPr lang="en-US" dirty="0"/>
              <a:t> texts is painful, </a:t>
            </a:r>
            <a:r>
              <a:rPr lang="en-US" dirty="0" err="1"/>
              <a:t>caus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making </a:t>
            </a:r>
            <a:r>
              <a:rPr lang="en-US" dirty="0" err="1"/>
              <a:t>mitakes</a:t>
            </a:r>
            <a:r>
              <a:rPr lang="en-US" dirty="0"/>
              <a:t>.</a:t>
            </a:r>
          </a:p>
          <a:p>
            <a:pPr marL="795847" lvl="1" indent="0"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Json:</a:t>
            </a:r>
          </a:p>
          <a:p>
            <a:pPr marL="152396" indent="0">
              <a:buFont typeface="Arial" panose="020B0604020202020204" pitchFamily="34" charset="0"/>
              <a:buNone/>
            </a:pPr>
            <a:endParaRPr lang="de-CH" sz="1800" dirty="0"/>
          </a:p>
          <a:p>
            <a:pPr marL="152396" indent="0">
              <a:buNone/>
            </a:pPr>
            <a:r>
              <a:rPr lang="de-CH" dirty="0" err="1"/>
              <a:t>Result</a:t>
            </a:r>
            <a:r>
              <a:rPr lang="de-CH" dirty="0"/>
              <a:t>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G-</a:t>
            </a:r>
            <a:r>
              <a:rPr lang="de-CH" dirty="0" err="1"/>
              <a:t>Ev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800" dirty="0">
                <a:latin typeface="Arial"/>
              </a:rPr>
              <a:t>«Grade </a:t>
            </a:r>
            <a:r>
              <a:rPr lang="de-CH" sz="1800" dirty="0" err="1">
                <a:latin typeface="Arial"/>
              </a:rPr>
              <a:t>the</a:t>
            </a:r>
            <a:r>
              <a:rPr lang="de-CH" sz="1800" dirty="0">
                <a:latin typeface="Arial"/>
              </a:rPr>
              <a:t> </a:t>
            </a:r>
            <a:r>
              <a:rPr lang="de-CH" sz="1800" dirty="0" err="1">
                <a:latin typeface="Arial"/>
              </a:rPr>
              <a:t>english</a:t>
            </a:r>
            <a:r>
              <a:rPr lang="de-CH" sz="1800" dirty="0">
                <a:latin typeface="Arial"/>
              </a:rPr>
              <a:t> </a:t>
            </a:r>
            <a:r>
              <a:rPr lang="de-CH" sz="1800" dirty="0" err="1">
                <a:latin typeface="Arial"/>
              </a:rPr>
              <a:t>grammar</a:t>
            </a:r>
            <a:r>
              <a:rPr lang="de-CH" sz="1800" dirty="0">
                <a:latin typeface="Arial"/>
              </a:rPr>
              <a:t> and </a:t>
            </a:r>
            <a:r>
              <a:rPr lang="de-CH" sz="1800" dirty="0" err="1">
                <a:latin typeface="Arial"/>
              </a:rPr>
              <a:t>syntax</a:t>
            </a:r>
            <a:r>
              <a:rPr lang="de-CH" sz="18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800" dirty="0">
                <a:latin typeface="Arial"/>
              </a:rPr>
              <a:t>“Why don’t you write longer texts ?”</a:t>
            </a:r>
            <a:endParaRPr lang="de-CH" sz="18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800" dirty="0">
                <a:latin typeface="Arial"/>
              </a:rPr>
              <a:t>«</a:t>
            </a:r>
            <a:r>
              <a:rPr lang="en-US" sz="1800" dirty="0" err="1">
                <a:latin typeface="Arial"/>
              </a:rPr>
              <a:t>Witing</a:t>
            </a:r>
            <a:r>
              <a:rPr lang="en-US" sz="1800" dirty="0">
                <a:latin typeface="Arial"/>
              </a:rPr>
              <a:t> texts is painful, </a:t>
            </a:r>
            <a:r>
              <a:rPr lang="en-US" sz="1800" dirty="0" err="1">
                <a:latin typeface="Arial"/>
              </a:rPr>
              <a:t>caus</a:t>
            </a:r>
            <a:r>
              <a:rPr lang="en-US" sz="1800" dirty="0">
                <a:latin typeface="Arial"/>
              </a:rPr>
              <a:t> </a:t>
            </a:r>
            <a:r>
              <a:rPr lang="en-US" sz="1800" dirty="0" err="1">
                <a:latin typeface="Arial"/>
              </a:rPr>
              <a:t>im</a:t>
            </a:r>
            <a:r>
              <a:rPr lang="en-US" sz="1800" dirty="0">
                <a:latin typeface="Arial"/>
              </a:rPr>
              <a:t> making </a:t>
            </a:r>
            <a:r>
              <a:rPr lang="en-US" sz="1800" dirty="0" err="1">
                <a:latin typeface="Arial"/>
              </a:rPr>
              <a:t>mitakes</a:t>
            </a:r>
            <a:r>
              <a:rPr lang="en-US" sz="1800" dirty="0">
                <a:latin typeface="Arial"/>
              </a:rPr>
              <a:t>.”</a:t>
            </a:r>
            <a:endParaRPr lang="de-CH" sz="18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4619649"/>
            <a:ext cx="11360800" cy="202375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6262" indent="0"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</a:t>
            </a:r>
            <a:r>
              <a:rPr lang="de-CH" sz="2000" dirty="0" err="1"/>
              <a:t>Result</a:t>
            </a:r>
            <a:endParaRPr lang="de-CH" sz="2000" dirty="0"/>
          </a:p>
          <a:p>
            <a:pPr marL="795847" lvl="1" indent="0">
              <a:buFont typeface="[Normal Text]"/>
              <a:buNone/>
            </a:pPr>
            <a:r>
              <a:rPr lang="en-US" sz="14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 	'reason’: 	"The text contains multiple spelling errors, such as '</a:t>
            </a:r>
            <a:r>
              <a:rPr lang="en-US" sz="1400" dirty="0" err="1"/>
              <a:t>Witing</a:t>
            </a:r>
            <a:r>
              <a:rPr lang="en-US" sz="1400" dirty="0"/>
              <a:t>' instead of 'Writing', '</a:t>
            </a:r>
            <a:r>
              <a:rPr lang="en-US" sz="1400" dirty="0" err="1"/>
              <a:t>caus</a:t>
            </a:r>
            <a:r>
              <a:rPr lang="en-US" sz="14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	'because', </a:t>
            </a:r>
            <a:r>
              <a:rPr lang="en-US" sz="1400" dirty="0" err="1"/>
              <a:t>and'mitakes</a:t>
            </a:r>
            <a:r>
              <a:rPr lang="en-US" sz="1400" dirty="0"/>
              <a:t>' instead </a:t>
            </a:r>
            <a:r>
              <a:rPr lang="en-US" sz="1400" dirty="0" err="1"/>
              <a:t>of'mistakes</a:t>
            </a:r>
            <a:r>
              <a:rPr lang="en-US" sz="14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}</a:t>
            </a:r>
            <a:endParaRPr lang="de-CH" sz="14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063240"/>
            <a:ext cx="11360800" cy="154943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</a:t>
            </a:r>
            <a:r>
              <a:rPr lang="de-CH" sz="2000" dirty="0" err="1"/>
              <a:t>Steps</a:t>
            </a:r>
            <a:endParaRPr lang="de-CH" sz="20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/>
              <a:t>Generate a plan </a:t>
            </a:r>
            <a:r>
              <a:rPr lang="de-CH" sz="1800" dirty="0" err="1"/>
              <a:t>containing</a:t>
            </a:r>
            <a:r>
              <a:rPr lang="de-CH" sz="1800" dirty="0"/>
              <a:t> 4+ </a:t>
            </a:r>
            <a:r>
              <a:rPr lang="de-CH" sz="1800" dirty="0" err="1"/>
              <a:t>steps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evaluat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.</a:t>
            </a: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based</a:t>
            </a:r>
            <a:r>
              <a:rPr lang="de-CH" sz="1800" dirty="0"/>
              <a:t> on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plan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a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Evaluat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prompt </a:t>
            </a: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step</a:t>
            </a:r>
            <a:r>
              <a:rPr lang="de-CH" sz="1800" dirty="0"/>
              <a:t> 2</a:t>
            </a:r>
            <a:endParaRPr lang="en-CH" sz="1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172E97-8371-6DDA-DB44-B3AB920DAC59}"/>
              </a:ext>
            </a:extLst>
          </p:cNvPr>
          <p:cNvSpPr txBox="1"/>
          <p:nvPr/>
        </p:nvSpPr>
        <p:spPr>
          <a:xfrm>
            <a:off x="8602060" y="6274075"/>
            <a:ext cx="34349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dirty="0">
                <a:hlinkClick r:id="rId2"/>
              </a:rPr>
              <a:t>https://arxiv.org/abs/2303.16634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80733" y="2230821"/>
            <a:ext cx="1855575" cy="1855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: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FE9F47-11A1-E27B-8C4E-485845760082}"/>
              </a:ext>
            </a:extLst>
          </p:cNvPr>
          <p:cNvSpPr txBox="1"/>
          <p:nvPr/>
        </p:nvSpPr>
        <p:spPr>
          <a:xfrm>
            <a:off x="3976078" y="6373792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Faithfulness</a:t>
            </a:r>
            <a:endParaRPr lang="en-CH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99B486-02CA-8CEB-4AAB-A10DEA6287C3}"/>
              </a:ext>
            </a:extLst>
          </p:cNvPr>
          <p:cNvSpPr txBox="1"/>
          <p:nvPr/>
        </p:nvSpPr>
        <p:spPr>
          <a:xfrm>
            <a:off x="1272499" y="3489254"/>
            <a:ext cx="1462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200" dirty="0" err="1"/>
              <a:t>Answer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de-CH" sz="1200" dirty="0"/>
          </a:p>
          <a:p>
            <a:pPr algn="r"/>
            <a:r>
              <a:rPr lang="de-CH" sz="1200" dirty="0" err="1"/>
              <a:t>Conciseness</a:t>
            </a:r>
            <a:endParaRPr lang="en-CH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55FD94-F54A-9094-4381-2E831809FD28}"/>
              </a:ext>
            </a:extLst>
          </p:cNvPr>
          <p:cNvSpPr txBox="1"/>
          <p:nvPr/>
        </p:nvSpPr>
        <p:spPr>
          <a:xfrm>
            <a:off x="6136478" y="3689017"/>
            <a:ext cx="1683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Contextual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en-CH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9F8C713-67B3-DF1E-85D5-4848D4F9E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6736879" y="3118502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08E4C41-F6D9-1762-BD64-2400F5EE12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4303115" y="5773171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96EAAC6-0F49-E11C-9C66-3EC276742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886955" y="2938667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62FE700B-8386-517C-54DA-F655569581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8515" y="1278352"/>
            <a:ext cx="7666107" cy="53147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24B8718-1232-C7D9-1733-8F37557735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7AA4F361-5A9A-2F7B-A3FA-E5FEA2A35132}"/>
              </a:ext>
            </a:extLst>
          </p:cNvPr>
          <p:cNvCxnSpPr/>
          <p:nvPr/>
        </p:nvCxnSpPr>
        <p:spPr>
          <a:xfrm flipV="1">
            <a:off x="4931454" y="3481026"/>
            <a:ext cx="1431509" cy="1242323"/>
          </a:xfrm>
          <a:prstGeom prst="straightConnector1">
            <a:avLst/>
          </a:prstGeom>
          <a:ln w="57150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C3BD109-9D5B-5CAE-FDBE-F3314DD1D7CE}"/>
              </a:ext>
            </a:extLst>
          </p:cNvPr>
          <p:cNvCxnSpPr>
            <a:cxnSpLocks/>
          </p:cNvCxnSpPr>
          <p:nvPr/>
        </p:nvCxnSpPr>
        <p:spPr>
          <a:xfrm flipV="1">
            <a:off x="8816078" y="3588232"/>
            <a:ext cx="827164" cy="1513489"/>
          </a:xfrm>
          <a:prstGeom prst="straightConnector1">
            <a:avLst/>
          </a:prstGeom>
          <a:ln w="57150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84F8223-CF4C-D990-E476-3F5219371723}"/>
              </a:ext>
            </a:extLst>
          </p:cNvPr>
          <p:cNvCxnSpPr>
            <a:cxnSpLocks/>
          </p:cNvCxnSpPr>
          <p:nvPr/>
        </p:nvCxnSpPr>
        <p:spPr>
          <a:xfrm flipV="1">
            <a:off x="3015487" y="2632842"/>
            <a:ext cx="606378" cy="1469345"/>
          </a:xfrm>
          <a:prstGeom prst="straightConnector1">
            <a:avLst/>
          </a:prstGeom>
          <a:ln w="57150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876550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4B8718-1232-C7D9-1733-8F37557735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3527B58-3BA8-BFFB-0507-B6958EA6C1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8515" y="1278352"/>
            <a:ext cx="7666106" cy="5314786"/>
          </a:xfrm>
          <a:prstGeom prst="rect">
            <a:avLst/>
          </a:prstGeom>
        </p:spPr>
      </p:pic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561DA943-B7D5-FE6B-5264-BE6B0DE0C361}"/>
              </a:ext>
            </a:extLst>
          </p:cNvPr>
          <p:cNvCxnSpPr>
            <a:cxnSpLocks/>
          </p:cNvCxnSpPr>
          <p:nvPr/>
        </p:nvCxnSpPr>
        <p:spPr>
          <a:xfrm flipV="1">
            <a:off x="1678571" y="2724281"/>
            <a:ext cx="1676331" cy="1409437"/>
          </a:xfrm>
          <a:prstGeom prst="straightConnector1">
            <a:avLst/>
          </a:prstGeom>
          <a:ln w="57150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456292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3A42F-1327-BEBA-D10D-E217637D8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 </a:t>
            </a:r>
            <a:r>
              <a:rPr lang="de-CH" dirty="0" err="1"/>
              <a:t>Eval</a:t>
            </a:r>
            <a:r>
              <a:rPr lang="de-CH" dirty="0"/>
              <a:t>: </a:t>
            </a:r>
            <a:r>
              <a:rPr lang="de-CH" dirty="0" err="1"/>
              <a:t>Example</a:t>
            </a:r>
            <a:endParaRPr lang="en-CH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0DA747-BE99-1A6E-62BA-925C1F00DB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663" y="1816189"/>
            <a:ext cx="11638674" cy="2125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42349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</a:p>
          <a:p>
            <a:r>
              <a:rPr lang="de-CH" dirty="0"/>
              <a:t>…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sz="1800" dirty="0" err="1">
                <a:latin typeface="Source Sans Pro" panose="020B0503030403020204"/>
              </a:rPr>
              <a:t>Failures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>
                <a:latin typeface="Source Sans Pro" panose="020B0503030403020204"/>
              </a:rPr>
              <a:t>Power</a:t>
            </a:r>
          </a:p>
          <a:p>
            <a:pPr lvl="1"/>
            <a:r>
              <a:rPr lang="de-CH" sz="1800" dirty="0" err="1">
                <a:latin typeface="Source Sans Pro" panose="020B0503030403020204"/>
              </a:rPr>
              <a:t>Stability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Complexity</a:t>
            </a:r>
            <a:r>
              <a:rPr lang="de-CH" sz="1800" dirty="0">
                <a:latin typeface="Source Sans Pro" panose="020B0503030403020204"/>
              </a:rPr>
              <a:t>, Work, Troubles</a:t>
            </a:r>
            <a:endParaRPr lang="en-CH" sz="1800" dirty="0"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marL="807700" lvl="1" indent="0">
              <a:buSzPct val="100000"/>
              <a:buNone/>
            </a:pPr>
            <a:endParaRPr lang="en" dirty="0"/>
          </a:p>
          <a:p>
            <a:pPr indent="-411470">
              <a:buSzPct val="100000"/>
            </a:pPr>
            <a:r>
              <a:rPr lang="en" dirty="0"/>
              <a:t>Evaluation: 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Eval4pptx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335779" y="2188159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En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understanding and interpreting input data (</a:t>
            </a:r>
            <a:r>
              <a:rPr lang="en" sz="1600" i="1" dirty="0">
                <a:latin typeface="Source Sans Pro" panose="020B0503030403020204"/>
              </a:rPr>
              <a:t>e.g. BERT</a:t>
            </a:r>
            <a:r>
              <a:rPr lang="en" sz="1600" dirty="0">
                <a:latin typeface="Source Sans Pro" panose="020B0503030403020204"/>
              </a:rPr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Embedding Models</a:t>
            </a:r>
            <a:endParaRPr sz="1600" dirty="0">
              <a:latin typeface="Source Sans Pro" panose="020B0503030403020204"/>
            </a:endParaRPr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De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GPT-style Models like </a:t>
            </a:r>
            <a:r>
              <a:rPr lang="en" sz="16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Llama, Mistral or OpenAI GPT</a:t>
            </a:r>
            <a:endParaRPr sz="16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392</Words>
  <Application>Microsoft Office PowerPoint</Application>
  <PresentationFormat>Widescreen</PresentationFormat>
  <Paragraphs>654</Paragraphs>
  <Slides>57</Slides>
  <Notes>45</Notes>
  <HiddenSlides>3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68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Evaluation on text results</vt:lpstr>
      <vt:lpstr>Evaluation on text results</vt:lpstr>
      <vt:lpstr>Evaluation on text results</vt:lpstr>
      <vt:lpstr>LLM as a judge: Idea</vt:lpstr>
      <vt:lpstr>LLM as a judge: G-Eval</vt:lpstr>
      <vt:lpstr>Demo:  Evaluation on Prem Notebook</vt:lpstr>
      <vt:lpstr>System Architecture</vt:lpstr>
      <vt:lpstr>System Architecture: Evaluation</vt:lpstr>
      <vt:lpstr>Online Eval: Example</vt:lpstr>
      <vt:lpstr>Online Eval: Example</vt:lpstr>
      <vt:lpstr>Online Eval: Example</vt:lpstr>
      <vt:lpstr>Evaluation Issues</vt:lpstr>
      <vt:lpstr>Eval Frameworks</vt:lpstr>
      <vt:lpstr>Your Experience ?</vt:lpstr>
      <vt:lpstr>Wrap Up</vt:lpstr>
      <vt:lpstr>Key takeaways</vt:lpstr>
      <vt:lpstr>Collection of notebooks used</vt:lpstr>
      <vt:lpstr>Thank you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123</cp:revision>
  <dcterms:created xsi:type="dcterms:W3CDTF">2019-10-15T07:31:09Z</dcterms:created>
  <dcterms:modified xsi:type="dcterms:W3CDTF">2024-09-04T10:03:03Z</dcterms:modified>
</cp:coreProperties>
</file>